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8" r:id="rId1"/>
    <p:sldMasterId id="2147483730" r:id="rId2"/>
    <p:sldMasterId id="2147483650" r:id="rId3"/>
    <p:sldMasterId id="2147483653" r:id="rId4"/>
    <p:sldMasterId id="2147483655" r:id="rId5"/>
    <p:sldMasterId id="2147483654" r:id="rId6"/>
  </p:sldMasterIdLst>
  <p:notesMasterIdLst>
    <p:notesMasterId r:id="rId14"/>
  </p:notesMasterIdLst>
  <p:handoutMasterIdLst>
    <p:handoutMasterId r:id="rId15"/>
  </p:handoutMasterIdLst>
  <p:sldIdLst>
    <p:sldId id="256" r:id="rId7"/>
    <p:sldId id="266" r:id="rId8"/>
    <p:sldId id="267" r:id="rId9"/>
    <p:sldId id="268" r:id="rId10"/>
    <p:sldId id="269" r:id="rId11"/>
    <p:sldId id="270" r:id="rId12"/>
    <p:sldId id="271" r:id="rId1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1"/>
    <p:restoredTop sz="94718"/>
  </p:normalViewPr>
  <p:slideViewPr>
    <p:cSldViewPr snapToGrid="0" snapToObjects="1">
      <p:cViewPr varScale="1">
        <p:scale>
          <a:sx n="84" d="100"/>
          <a:sy n="84" d="100"/>
        </p:scale>
        <p:origin x="629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C1F2EDE-ED4D-4BE0-A1C1-8445BD6122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9842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E51481A-BC87-4BA7-9856-82F11A22B8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16324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675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1366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9846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1482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683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3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02625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524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3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03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72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3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0676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715478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02384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JP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jpeg"/><Relationship Id="rId5" Type="http://schemas.openxmlformats.org/officeDocument/2006/relationships/image" Target="../media/image23.JPG"/><Relationship Id="rId4" Type="http://schemas.openxmlformats.org/officeDocument/2006/relationships/image" Target="../media/image22.JP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microsoft.com/office/2007/relationships/hdphoto" Target="../media/hdphoto1.wdp"/><Relationship Id="rId7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image" Target="../media/image35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image" Target="../media/image3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0" y="5447448"/>
            <a:ext cx="12192000" cy="53308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FontTx/>
              <a:buNone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National Accounts – Steve Zamagias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248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97651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KeyBank Operations Center, Cleveland Ohio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41" y="620871"/>
            <a:ext cx="5998259" cy="449869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68" y="4074303"/>
            <a:ext cx="3853887" cy="2562425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5" name="TextBox 4"/>
          <p:cNvSpPr txBox="1"/>
          <p:nvPr/>
        </p:nvSpPr>
        <p:spPr>
          <a:xfrm>
            <a:off x="4374930" y="5190209"/>
            <a:ext cx="238865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Gunnebo Entrance Control Group</a:t>
            </a:r>
          </a:p>
          <a:p>
            <a:pPr algn="ctr"/>
            <a:r>
              <a:rPr lang="en-US" sz="2000" dirty="0"/>
              <a:t>Tom Volpe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1091" y="620316"/>
            <a:ext cx="6792097" cy="4516022"/>
          </a:xfrm>
          <a:prstGeom prst="rect">
            <a:avLst/>
          </a:prstGeom>
        </p:spPr>
      </p:pic>
      <p:pic>
        <p:nvPicPr>
          <p:cNvPr id="1026" name="D5DB3956-8BF5-47B6-A34F-A6CB29776D0D" descr="image2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2545" y="2008571"/>
            <a:ext cx="2915275" cy="3119381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/>
          <p:nvPr/>
        </p:nvPicPr>
        <p:blipFill>
          <a:blip r:embed="rId6"/>
          <a:stretch>
            <a:fillRect/>
          </a:stretch>
        </p:blipFill>
        <p:spPr>
          <a:xfrm>
            <a:off x="7236179" y="4929127"/>
            <a:ext cx="4847010" cy="167064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882232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7651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JPMorgan Chase – JLL Plant Tour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351" y="1011487"/>
            <a:ext cx="3471485" cy="230816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2500" y="3550473"/>
            <a:ext cx="3473500" cy="23095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11612" t="3635" r="9281" b="6853"/>
          <a:stretch/>
        </p:blipFill>
        <p:spPr>
          <a:xfrm>
            <a:off x="6633375" y="1660124"/>
            <a:ext cx="5369236" cy="4556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074850" y="1535838"/>
            <a:ext cx="173675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ike Mooney and Lisa learning about our welding process. 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7352" y="4154750"/>
            <a:ext cx="188206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/>
              <a:t>Dennis </a:t>
            </a:r>
            <a:r>
              <a:rPr lang="en-US" sz="1600" i="1" dirty="0" err="1"/>
              <a:t>Bubemyre</a:t>
            </a:r>
            <a:r>
              <a:rPr lang="en-US" sz="1600" dirty="0"/>
              <a:t> explaining how our drive up window is made and installed to project managers. </a:t>
            </a:r>
          </a:p>
        </p:txBody>
      </p:sp>
    </p:spTree>
    <p:extLst>
      <p:ext uri="{BB962C8B-B14F-4D97-AF65-F5344CB8AC3E}">
        <p14:creationId xmlns:p14="http://schemas.microsoft.com/office/powerpoint/2010/main" val="3559338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30308" y="106526"/>
            <a:ext cx="1219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         JPMorgan Chase Barrier Protec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419210" y="1043487"/>
            <a:ext cx="26675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ranch Protection</a:t>
            </a: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740380" y="3211986"/>
            <a:ext cx="3370943" cy="25282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3597" y="1188920"/>
            <a:ext cx="3600757" cy="23926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4763416" y="3054946"/>
            <a:ext cx="2346113" cy="30361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966168" y="446545"/>
            <a:ext cx="2388044" cy="309041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5" name="TextBox 14"/>
          <p:cNvSpPr txBox="1"/>
          <p:nvPr/>
        </p:nvSpPr>
        <p:spPr>
          <a:xfrm>
            <a:off x="4873842" y="5965793"/>
            <a:ext cx="1825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ecutive Offices 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5714" y="1522956"/>
            <a:ext cx="3380432" cy="25353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77218" y="4184495"/>
            <a:ext cx="2751493" cy="20636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9" name="TextBox 18"/>
          <p:cNvSpPr txBox="1"/>
          <p:nvPr/>
        </p:nvSpPr>
        <p:spPr>
          <a:xfrm>
            <a:off x="7656945" y="4076752"/>
            <a:ext cx="176226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ra Puckett</a:t>
            </a:r>
          </a:p>
          <a:p>
            <a:r>
              <a:rPr lang="en-US" dirty="0"/>
              <a:t>National Accounts Program Manager</a:t>
            </a:r>
          </a:p>
          <a:p>
            <a:r>
              <a:rPr lang="en-US" b="1" dirty="0"/>
              <a:t>Total Security Solutions, In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198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9254" y="322066"/>
            <a:ext cx="5119320" cy="383948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9280559" y="3603555"/>
            <a:ext cx="3044595" cy="22834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9732246" y="787077"/>
            <a:ext cx="1932449" cy="1449337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19" y="4851697"/>
            <a:ext cx="1892935" cy="1258570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8" r="11327"/>
          <a:stretch/>
        </p:blipFill>
        <p:spPr bwMode="auto">
          <a:xfrm>
            <a:off x="1625271" y="3222980"/>
            <a:ext cx="1958755" cy="140903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7"/>
          <a:stretch/>
        </p:blipFill>
        <p:spPr bwMode="auto">
          <a:xfrm>
            <a:off x="736874" y="1826777"/>
            <a:ext cx="1792605" cy="130238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598633" y="4242966"/>
            <a:ext cx="390787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Pharmacy</a:t>
            </a:r>
            <a:r>
              <a:rPr lang="en-US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udio/Video Replac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neumatic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posito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sign &amp; Consulting Servic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6874" y="442604"/>
            <a:ext cx="3159821" cy="96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9310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6200000">
            <a:off x="2654848" y="-2654849"/>
            <a:ext cx="6882305" cy="1219200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884" y="654455"/>
            <a:ext cx="3919582" cy="69125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5130" y="5274626"/>
            <a:ext cx="3707941" cy="148600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79100" y="654455"/>
            <a:ext cx="1626877" cy="16268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6557" y="4224837"/>
            <a:ext cx="3329689" cy="14715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01758" y="2602725"/>
            <a:ext cx="4830358" cy="140673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317" y="5266475"/>
            <a:ext cx="1678540" cy="144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52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7651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Creating Additional Value Through Partnership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471258" y="1023188"/>
            <a:ext cx="3488313" cy="4559088"/>
            <a:chOff x="677863" y="1196975"/>
            <a:chExt cx="2744787" cy="4260850"/>
          </a:xfrm>
        </p:grpSpPr>
        <p:sp>
          <p:nvSpPr>
            <p:cNvPr id="4" name="Freeform 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" name="Freeform 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94D7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" name="Freeform 1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94D7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1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13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094D7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25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1" name="Line 26" descr="Horizontal dunkel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27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0094D7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29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0094D7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grpSp>
          <p:nvGrpSpPr>
            <p:cNvPr id="14" name="Group 38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149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" name="Freeform 41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4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4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4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4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4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2" name="Line 48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49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5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51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52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53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54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55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56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57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grpSp>
          <p:nvGrpSpPr>
            <p:cNvPr id="32" name="Group 58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139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3" name="Freeform 10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6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63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grpSp>
          <p:nvGrpSpPr>
            <p:cNvPr id="36" name="Group 164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35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" name="Freeform 19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94D7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9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95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96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197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19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19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200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201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202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203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204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20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206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207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208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209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210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211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212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213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214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215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216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217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218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219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220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221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222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223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224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225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346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1" name="Line 359"/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360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36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grpSp>
          <p:nvGrpSpPr>
            <p:cNvPr id="74" name="Group 362"/>
            <p:cNvGrpSpPr>
              <a:grpSpLocks/>
            </p:cNvGrpSpPr>
            <p:nvPr>
              <p:custDataLst>
                <p:tags r:id="rId71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13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5" name="Group 384"/>
            <p:cNvGrpSpPr>
              <a:grpSpLocks/>
            </p:cNvGrpSpPr>
            <p:nvPr>
              <p:custDataLst>
                <p:tags r:id="rId72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126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6" name="Group 391"/>
            <p:cNvGrpSpPr>
              <a:grpSpLocks/>
            </p:cNvGrpSpPr>
            <p:nvPr>
              <p:custDataLst>
                <p:tags r:id="rId73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rgbClr val="0094D7"/>
            </a:solidFill>
          </p:grpSpPr>
          <p:sp>
            <p:nvSpPr>
              <p:cNvPr id="84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7" name="Group 438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81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2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8" name="Freeform 44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45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54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224" dirty="0">
                <a:solidFill>
                  <a:srgbClr val="000000"/>
                </a:solidFill>
              </a:endParaRPr>
            </a:p>
          </p:txBody>
        </p:sp>
      </p:grpSp>
      <p:sp>
        <p:nvSpPr>
          <p:cNvPr id="151" name="Rectangular Callout 2"/>
          <p:cNvSpPr/>
          <p:nvPr/>
        </p:nvSpPr>
        <p:spPr bwMode="auto">
          <a:xfrm>
            <a:off x="7806762" y="741361"/>
            <a:ext cx="2802054" cy="2219347"/>
          </a:xfrm>
          <a:prstGeom prst="wedgeRectCallout">
            <a:avLst>
              <a:gd name="adj1" fmla="val -109282"/>
              <a:gd name="adj2" fmla="val 21691"/>
            </a:avLst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121" tIns="42061" rIns="84121" bIns="42061" numCol="1" rtlCol="0" anchor="ctr" anchorCtr="0" compatLnSpc="1">
            <a:prstTxWarp prst="textNoShape">
              <a:avLst/>
            </a:prstTxWarp>
          </a:bodyPr>
          <a:lstStyle/>
          <a:p>
            <a:pPr defTabSz="767121"/>
            <a:r>
              <a:rPr lang="en-US" sz="1343" b="1" dirty="0"/>
              <a:t>USA</a:t>
            </a:r>
          </a:p>
          <a:p>
            <a:r>
              <a:rPr lang="en-US" sz="1174" dirty="0"/>
              <a:t>Hamilton Safe acquired in </a:t>
            </a:r>
            <a:br>
              <a:rPr lang="en-US" sz="1174" dirty="0"/>
            </a:br>
            <a:r>
              <a:rPr lang="en-US" sz="1174" dirty="0"/>
              <a:t>2012. US’s second largest </a:t>
            </a:r>
            <a:br>
              <a:rPr lang="en-US" sz="1174" dirty="0"/>
            </a:br>
            <a:r>
              <a:rPr lang="en-US" sz="1174" dirty="0"/>
              <a:t>provider of safes and vaults </a:t>
            </a:r>
            <a:br>
              <a:rPr lang="en-US" sz="1174" dirty="0"/>
            </a:br>
            <a:r>
              <a:rPr lang="en-US" sz="1174" dirty="0"/>
              <a:t>to banks and government.</a:t>
            </a:r>
          </a:p>
          <a:p>
            <a:r>
              <a:rPr lang="en-US" sz="1174" dirty="0"/>
              <a:t>Over 70 Authorized Channel Partners</a:t>
            </a:r>
          </a:p>
          <a:p>
            <a:endParaRPr lang="en-US" sz="1174" dirty="0"/>
          </a:p>
          <a:p>
            <a:r>
              <a:rPr lang="en-US" sz="1174" dirty="0"/>
              <a:t>Hamilton production in </a:t>
            </a:r>
            <a:br>
              <a:rPr lang="en-US" sz="1174" dirty="0"/>
            </a:br>
            <a:r>
              <a:rPr lang="en-US" sz="1174" dirty="0"/>
              <a:t>Cincinnati OH.</a:t>
            </a:r>
          </a:p>
          <a:p>
            <a:endParaRPr lang="en-US" sz="1174" dirty="0"/>
          </a:p>
          <a:p>
            <a:r>
              <a:rPr lang="en-US" sz="1174" dirty="0"/>
              <a:t>North America Call Center is </a:t>
            </a:r>
          </a:p>
          <a:p>
            <a:r>
              <a:rPr lang="en-US" sz="1174" dirty="0"/>
              <a:t>located in Cincinnati OH.</a:t>
            </a:r>
          </a:p>
        </p:txBody>
      </p:sp>
      <p:sp>
        <p:nvSpPr>
          <p:cNvPr id="152" name="Rectangular Callout 155"/>
          <p:cNvSpPr/>
          <p:nvPr/>
        </p:nvSpPr>
        <p:spPr bwMode="auto">
          <a:xfrm flipH="1">
            <a:off x="7733608" y="3378947"/>
            <a:ext cx="2426386" cy="1317236"/>
          </a:xfrm>
          <a:prstGeom prst="wedgeRectCallout">
            <a:avLst>
              <a:gd name="adj1" fmla="val 79142"/>
              <a:gd name="adj2" fmla="val -8741"/>
            </a:avLst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121" tIns="42061" rIns="84121" bIns="42061" numCol="1" rtlCol="0" anchor="ctr" anchorCtr="0" compatLnSpc="1">
            <a:prstTxWarp prst="textNoShape">
              <a:avLst/>
            </a:prstTxWarp>
          </a:bodyPr>
          <a:lstStyle/>
          <a:p>
            <a:pPr defTabSz="767121"/>
            <a:r>
              <a:rPr lang="en-US" sz="1343" b="1" dirty="0"/>
              <a:t>Brazil</a:t>
            </a:r>
          </a:p>
          <a:p>
            <a:pPr defTabSz="767121"/>
            <a:r>
              <a:rPr lang="en-US" sz="1174" dirty="0"/>
              <a:t>Established in 1990s under Gateway </a:t>
            </a:r>
            <a:br>
              <a:rPr lang="en-US" sz="1174" dirty="0"/>
            </a:br>
            <a:r>
              <a:rPr lang="en-US" sz="1174" dirty="0"/>
              <a:t>brand. Acquired by Gunnebo in 2012.</a:t>
            </a:r>
            <a:br>
              <a:rPr lang="en-US" sz="1174" dirty="0"/>
            </a:br>
            <a:r>
              <a:rPr lang="en-US" sz="1174" dirty="0"/>
              <a:t>Today a leading provider of Loss </a:t>
            </a:r>
            <a:br>
              <a:rPr lang="en-US" sz="1174" dirty="0"/>
            </a:br>
            <a:r>
              <a:rPr lang="en-US" sz="1174" dirty="0"/>
              <a:t>Prevention solutions to retailers.</a:t>
            </a:r>
            <a:endParaRPr lang="en-US" sz="1343" dirty="0"/>
          </a:p>
        </p:txBody>
      </p:sp>
      <p:sp>
        <p:nvSpPr>
          <p:cNvPr id="153" name="Rectangular Callout 156"/>
          <p:cNvSpPr/>
          <p:nvPr/>
        </p:nvSpPr>
        <p:spPr bwMode="auto">
          <a:xfrm flipH="1">
            <a:off x="2885625" y="3479465"/>
            <a:ext cx="3067349" cy="1129504"/>
          </a:xfrm>
          <a:prstGeom prst="wedgeRectCallout">
            <a:avLst>
              <a:gd name="adj1" fmla="val -35225"/>
              <a:gd name="adj2" fmla="val -102612"/>
            </a:avLst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121" tIns="42061" rIns="84121" bIns="42061" numCol="1" rtlCol="0" anchor="ctr" anchorCtr="0" compatLnSpc="1">
            <a:prstTxWarp prst="textNoShape">
              <a:avLst/>
            </a:prstTxWarp>
          </a:bodyPr>
          <a:lstStyle/>
          <a:p>
            <a:pPr defTabSz="767121"/>
            <a:r>
              <a:rPr lang="en-US" sz="1343" b="1" dirty="0"/>
              <a:t>Mexico</a:t>
            </a:r>
            <a:r>
              <a:rPr lang="en-US" sz="1174" dirty="0"/>
              <a:t/>
            </a:r>
            <a:br>
              <a:rPr lang="en-US" sz="1174" dirty="0"/>
            </a:br>
            <a:r>
              <a:rPr lang="en-US" sz="1174" dirty="0" err="1"/>
              <a:t>Dissamex</a:t>
            </a:r>
            <a:r>
              <a:rPr lang="en-US" sz="1174" dirty="0"/>
              <a:t> acquired in 2014 </a:t>
            </a:r>
            <a:br>
              <a:rPr lang="en-US" sz="1174" dirty="0"/>
            </a:br>
            <a:r>
              <a:rPr lang="en-US" sz="1174" dirty="0"/>
              <a:t>#1 Electronic security services provider </a:t>
            </a:r>
            <a:br>
              <a:rPr lang="en-US" sz="1174" dirty="0"/>
            </a:br>
            <a:r>
              <a:rPr lang="en-US" sz="1174" dirty="0"/>
              <a:t>to most major national banks. </a:t>
            </a:r>
          </a:p>
        </p:txBody>
      </p:sp>
      <p:sp>
        <p:nvSpPr>
          <p:cNvPr id="154" name="Rectangular Callout 157"/>
          <p:cNvSpPr/>
          <p:nvPr/>
        </p:nvSpPr>
        <p:spPr bwMode="auto">
          <a:xfrm flipH="1">
            <a:off x="2431319" y="897514"/>
            <a:ext cx="2256303" cy="1386049"/>
          </a:xfrm>
          <a:prstGeom prst="wedgeRectCallout">
            <a:avLst>
              <a:gd name="adj1" fmla="val -103807"/>
              <a:gd name="adj2" fmla="val 21782"/>
            </a:avLst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4121" tIns="42061" rIns="84121" bIns="42061" numCol="1" rtlCol="0" anchor="ctr" anchorCtr="0" compatLnSpc="1">
            <a:prstTxWarp prst="textNoShape">
              <a:avLst/>
            </a:prstTxWarp>
          </a:bodyPr>
          <a:lstStyle/>
          <a:p>
            <a:pPr defTabSz="767121"/>
            <a:r>
              <a:rPr lang="en-US" sz="1343" b="1" dirty="0"/>
              <a:t>Canada</a:t>
            </a:r>
          </a:p>
          <a:p>
            <a:pPr defTabSz="767121"/>
            <a:r>
              <a:rPr lang="en-US" sz="1174" dirty="0"/>
              <a:t>In business since 1960s. </a:t>
            </a:r>
            <a:br>
              <a:rPr lang="en-US" sz="1174" dirty="0"/>
            </a:br>
            <a:r>
              <a:rPr lang="en-US" sz="1174" dirty="0"/>
              <a:t>Originally established under </a:t>
            </a:r>
            <a:br>
              <a:rPr lang="en-US" sz="1174" dirty="0"/>
            </a:br>
            <a:r>
              <a:rPr lang="en-US" sz="1174" dirty="0" err="1"/>
              <a:t>Chubbsafes</a:t>
            </a:r>
            <a:r>
              <a:rPr lang="en-US" sz="1174" dirty="0"/>
              <a:t> brand.</a:t>
            </a:r>
          </a:p>
          <a:p>
            <a:pPr defTabSz="767121"/>
            <a:endParaRPr lang="en-US" sz="1174" dirty="0"/>
          </a:p>
          <a:p>
            <a:pPr defTabSz="767121"/>
            <a:r>
              <a:rPr lang="en-US" sz="1174" dirty="0"/>
              <a:t>14 Branches coast to coast</a:t>
            </a:r>
          </a:p>
          <a:p>
            <a:pPr defTabSz="767121"/>
            <a:r>
              <a:rPr lang="en-US" sz="1174" dirty="0"/>
              <a:t>90 Technicians</a:t>
            </a:r>
          </a:p>
        </p:txBody>
      </p:sp>
      <p:sp>
        <p:nvSpPr>
          <p:cNvPr id="155" name="Rectangular Callout 158"/>
          <p:cNvSpPr/>
          <p:nvPr/>
        </p:nvSpPr>
        <p:spPr bwMode="auto">
          <a:xfrm>
            <a:off x="2664217" y="2465834"/>
            <a:ext cx="2140910" cy="781135"/>
          </a:xfrm>
          <a:prstGeom prst="wedgeRectCallout">
            <a:avLst>
              <a:gd name="adj1" fmla="val 69295"/>
              <a:gd name="adj2" fmla="val -80169"/>
            </a:avLst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121" tIns="42061" rIns="84121" bIns="42061" numCol="1" rtlCol="0" anchor="ctr" anchorCtr="0" compatLnSpc="1">
            <a:prstTxWarp prst="textNoShape">
              <a:avLst/>
            </a:prstTxWarp>
          </a:bodyPr>
          <a:lstStyle/>
          <a:p>
            <a:pPr defTabSz="767121"/>
            <a:r>
              <a:rPr lang="en-US" sz="1343" b="1" dirty="0"/>
              <a:t>Entrance Control</a:t>
            </a:r>
          </a:p>
          <a:p>
            <a:pPr defTabSz="767121"/>
            <a:r>
              <a:rPr lang="sv-SE" sz="1174" dirty="0"/>
              <a:t>Market leading solutions assembled in Northern California</a:t>
            </a:r>
            <a:endParaRPr lang="en-US" sz="1174" dirty="0"/>
          </a:p>
        </p:txBody>
      </p:sp>
      <p:sp>
        <p:nvSpPr>
          <p:cNvPr id="156" name="TextBox 155"/>
          <p:cNvSpPr txBox="1"/>
          <p:nvPr/>
        </p:nvSpPr>
        <p:spPr>
          <a:xfrm>
            <a:off x="239459" y="1353091"/>
            <a:ext cx="201689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Rob Cumming</a:t>
            </a:r>
          </a:p>
          <a:p>
            <a:pPr algn="ctr"/>
            <a:r>
              <a:rPr lang="en-US" sz="2000" dirty="0"/>
              <a:t>Gunnebo Canada</a:t>
            </a:r>
          </a:p>
          <a:p>
            <a:pPr algn="ctr"/>
            <a:endParaRPr lang="en-US" dirty="0"/>
          </a:p>
        </p:txBody>
      </p:sp>
      <p:pic>
        <p:nvPicPr>
          <p:cNvPr id="157" name="Picture 156"/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963482" y="4325299"/>
            <a:ext cx="1594293" cy="1380294"/>
          </a:xfrm>
          <a:prstGeom prst="rect">
            <a:avLst/>
          </a:prstGeom>
        </p:spPr>
      </p:pic>
      <p:pic>
        <p:nvPicPr>
          <p:cNvPr id="159" name="Picture 158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173243" y="2712431"/>
            <a:ext cx="1989794" cy="1323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774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</TotalTime>
  <Words>118</Words>
  <Application>Microsoft Office PowerPoint</Application>
  <PresentationFormat>Widescreen</PresentationFormat>
  <Paragraphs>41</Paragraphs>
  <Slides>7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entury Gothic</vt:lpstr>
      <vt:lpstr>5_Custom Design</vt:lpstr>
      <vt:lpstr>1_Custom Design</vt:lpstr>
      <vt:lpstr>Custom Design</vt:lpstr>
      <vt:lpstr>2_Custom Design</vt:lpstr>
      <vt:lpstr>4_Custom Design</vt:lpstr>
      <vt:lpstr>3_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ki Meister</dc:creator>
  <cp:lastModifiedBy>Strautman, Brian</cp:lastModifiedBy>
  <cp:revision>8</cp:revision>
  <cp:lastPrinted>2017-05-04T16:10:05Z</cp:lastPrinted>
  <dcterms:created xsi:type="dcterms:W3CDTF">2017-04-13T15:29:15Z</dcterms:created>
  <dcterms:modified xsi:type="dcterms:W3CDTF">2017-05-04T16:10:09Z</dcterms:modified>
</cp:coreProperties>
</file>